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199.xml" ContentType="application/vnd.openxmlformats-officedocument.presentationml.slide+xml"/>
  <Override PartName="/ppt/tags/tag821.xml" ContentType="application/vnd.openxmlformats-officedocument.presentationml.tags+xml"/>
  <Override PartName="/ppt/tags/tag826.xml" ContentType="application/vnd.openxmlformats-officedocument.presentationml.tags+xml"/>
  <Override PartName="/ppt/tags/tag834.xml" ContentType="application/vnd.openxmlformats-officedocument.presentationml.tags+xml"/>
  <Override PartName="/ppt/tags/tag847.xml" ContentType="application/vnd.openxmlformats-officedocument.presentationml.tags+xml"/>
  <Override PartName="/ppt/tags/tag829.xml" ContentType="application/vnd.openxmlformats-officedocument.presentationml.tags+xml"/>
  <Override PartName="/ppt/tags/tag842.xml" ContentType="application/vnd.openxmlformats-officedocument.presentationml.tags+xml"/>
  <Override PartName="/ppt/tags/tag850.xml" ContentType="application/vnd.openxmlformats-officedocument.presentationml.tags+xml"/>
  <Override PartName="/ppt/tags/tag855.xml" ContentType="application/vnd.openxmlformats-officedocument.presentationml.tags+xml"/>
  <Override PartName="/ppt/tags/tag858.xml" ContentType="application/vnd.openxmlformats-officedocument.presentationml.tags+xml"/>
  <Override PartName="/ppt/tags/tag863.xml" ContentType="application/vnd.openxmlformats-officedocument.presentationml.tags+xml"/>
  <Override PartName="/ppt/tags/tag815.xml" ContentType="application/vnd.openxmlformats-officedocument.presentationml.tags+xml"/>
  <Override PartName="/ppt/tags/tag810.xml" ContentType="application/vnd.openxmlformats-officedocument.presentationml.tags+xml"/>
  <Override PartName="/ppt/tags/tag824.xml" ContentType="application/vnd.openxmlformats-officedocument.presentationml.tags+xml"/>
  <Override PartName="/ppt/tags/tag837.xml" ContentType="application/vnd.openxmlformats-officedocument.presentationml.tags+xml"/>
  <Override PartName="/ppt/tags/tag819.xml" ContentType="application/vnd.openxmlformats-officedocument.presentationml.tags+xml"/>
  <Override PartName="/ppt/tags/tag832.xml" ContentType="application/vnd.openxmlformats-officedocument.presentationml.tags+xml"/>
  <Override PartName="/ppt/tags/tag840.xml" ContentType="application/vnd.openxmlformats-officedocument.presentationml.tags+xml"/>
  <Override PartName="/ppt/tags/tag845.xml" ContentType="application/vnd.openxmlformats-officedocument.presentationml.tags+xml"/>
  <Override PartName="/ppt/tags/tag848.xml" ContentType="application/vnd.openxmlformats-officedocument.presentationml.tags+xml"/>
  <Override PartName="/ppt/tags/tag853.xml" ContentType="application/vnd.openxmlformats-officedocument.presentationml.tags+xml"/>
  <Override PartName="/ppt/tags/tag861.xml" ContentType="application/vnd.openxmlformats-officedocument.presentationml.tags+xml"/>
  <Override PartName="/ppt/tags/tag813.xml" ContentType="application/vnd.openxmlformats-officedocument.presentationml.tags+xml"/>
  <Override PartName="/ppt/tags/tag827.xml" ContentType="application/vnd.openxmlformats-officedocument.presentationml.tags+xml"/>
  <Override PartName="/ppt/tags/tag812.xml" ContentType="application/vnd.openxmlformats-officedocument.presentationml.tags+xml"/>
  <Override PartName="/ppt/tags/tag817.xml" ContentType="application/vnd.openxmlformats-officedocument.presentationml.tags+xml"/>
  <Override PartName="/ppt/tags/tag822.xml" ContentType="application/vnd.openxmlformats-officedocument.presentationml.tags+xml"/>
  <Override PartName="/ppt/tags/tag830.xml" ContentType="application/vnd.openxmlformats-officedocument.presentationml.tags+xml"/>
  <Override PartName="/ppt/tags/tag835.xml" ContentType="application/vnd.openxmlformats-officedocument.presentationml.tags+xml"/>
  <Override PartName="/ppt/tags/tag838.xml" ContentType="application/vnd.openxmlformats-officedocument.presentationml.tags+xml"/>
  <Override PartName="/ppt/tags/tag843.xml" ContentType="application/vnd.openxmlformats-officedocument.presentationml.tags+xml"/>
  <Override PartName="/ppt/tags/tag851.xml" ContentType="application/vnd.openxmlformats-officedocument.presentationml.tags+xml"/>
  <Override PartName="/ppt/tags/tag856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816.xml" ContentType="application/vnd.openxmlformats-officedocument.presentationml.tags+xml"/>
  <Override PartName="/ppt/tags/tag859.xml" ContentType="application/vnd.openxmlformats-officedocument.presentationml.tags+xml"/>
  <Override PartName="/ppt/tags/tag811.xml" ContentType="application/vnd.openxmlformats-officedocument.presentationml.tags+xml"/>
  <Override PartName="/ppt/tags/tag820.xml" ContentType="application/vnd.openxmlformats-officedocument.presentationml.tags+xml"/>
  <Override PartName="/ppt/tags/tag825.xml" ContentType="application/vnd.openxmlformats-officedocument.presentationml.tags+xml"/>
  <Override PartName="/ppt/tags/tag833.xml" ContentType="application/vnd.openxmlformats-officedocument.presentationml.tags+xml"/>
  <Override PartName="/ppt/tags/tag841.xml" ContentType="application/vnd.openxmlformats-officedocument.presentationml.tags+xml"/>
  <Override PartName="/ppt/tags/tag846.xml" ContentType="application/vnd.openxmlformats-officedocument.presentationml.tags+xml"/>
  <Override PartName="/ppt/tags/tag854.xml" ContentType="application/vnd.openxmlformats-officedocument.presentationml.tags+xml"/>
  <Override PartName="/ppt/tags/tag828.xml" ContentType="application/vnd.openxmlformats-officedocument.presentationml.tags+xml"/>
  <Override PartName="/ppt/tags/tag849.xml" ContentType="application/vnd.openxmlformats-officedocument.presentationml.tags+xml"/>
  <Override PartName="/ppt/tags/tag862.xml" ContentType="application/vnd.openxmlformats-officedocument.presentationml.tags+xml"/>
  <Override PartName="/ppt/tags/tag814.xml" ContentType="application/vnd.openxmlformats-officedocument.presentationml.tags+xml"/>
  <Override PartName="/ppt/tags/tag823.xml" ContentType="application/vnd.openxmlformats-officedocument.presentationml.tags+xml"/>
  <Override PartName="/ppt/tags/tag831.xml" ContentType="application/vnd.openxmlformats-officedocument.presentationml.tags+xml"/>
  <Override PartName="/ppt/tags/tag836.xml" ContentType="application/vnd.openxmlformats-officedocument.presentationml.tags+xml"/>
  <Override PartName="/ppt/tags/tag844.xml" ContentType="application/vnd.openxmlformats-officedocument.presentationml.tags+xml"/>
  <Override PartName="/ppt/tags/tag857.xml" ContentType="application/vnd.openxmlformats-officedocument.presentationml.tags+xml"/>
  <Override PartName="/ppt/notesSlides/notesSlide199.xml" ContentType="application/vnd.openxmlformats-officedocument.presentationml.notesSlide+xml"/>
  <Override PartName="/ppt/tags/tag818.xml" ContentType="application/vnd.openxmlformats-officedocument.presentationml.tags+xml"/>
  <Override PartName="/ppt/tags/tag839.xml" ContentType="application/vnd.openxmlformats-officedocument.presentationml.tags+xml"/>
  <Override PartName="/ppt/tags/tag852.xml" ContentType="application/vnd.openxmlformats-officedocument.presentationml.tags+xml"/>
  <Override PartName="/ppt/tags/tag860.xml" ContentType="application/vnd.openxmlformats-officedocument.presentationml.tags+xml"/>
  <Override PartName="/ppt/charts/chart28.xml" ContentType="application/vnd.openxmlformats-officedocument.drawingml.chart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23" r:id="rId20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199.xml" Id="rId202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28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27.xlsb" Id="rId1" /></Relationships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075612353567625E-2"/>
          <c:y val="2.516940948693127E-2"/>
          <c:w val="0.97784877529286474"/>
          <c:h val="0.94966118102613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89D-43F9-A28D-2EB14E02EA88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89D-43F9-A28D-2EB14E02EA88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36332515</c:v>
                </c:pt>
                <c:pt idx="1">
                  <c:v>35331631</c:v>
                </c:pt>
                <c:pt idx="2">
                  <c:v>35196929</c:v>
                </c:pt>
                <c:pt idx="3">
                  <c:v>38323916</c:v>
                </c:pt>
                <c:pt idx="4">
                  <c:v>52872868</c:v>
                </c:pt>
                <c:pt idx="5">
                  <c:v>67453171</c:v>
                </c:pt>
                <c:pt idx="6">
                  <c:v>91944329</c:v>
                </c:pt>
                <c:pt idx="7">
                  <c:v>252452562</c:v>
                </c:pt>
                <c:pt idx="8">
                  <c:v>2827468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9D-43F9-A28D-2EB14E02EA88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2:$I$2</c:f>
              <c:numCache>
                <c:formatCode>General</c:formatCode>
                <c:ptCount val="9"/>
                <c:pt idx="0">
                  <c:v>29376468</c:v>
                </c:pt>
                <c:pt idx="1">
                  <c:v>35359696</c:v>
                </c:pt>
                <c:pt idx="2">
                  <c:v>39087787</c:v>
                </c:pt>
                <c:pt idx="3">
                  <c:v>48558253</c:v>
                </c:pt>
                <c:pt idx="4">
                  <c:v>68881232</c:v>
                </c:pt>
                <c:pt idx="5">
                  <c:v>94479591</c:v>
                </c:pt>
                <c:pt idx="6">
                  <c:v>1184328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9D-43F9-A28D-2EB14E02EA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27527552"/>
        <c:axId val="1"/>
      </c:barChart>
      <c:catAx>
        <c:axId val="3275275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  <a:sym typeface="+mn-lt"/>
              </a:defRPr>
            </a:pPr>
            <a:endParaRPr lang="zh-CN"/>
          </a:p>
        </c:txPr>
        <c:crossAx val="327527552"/>
        <c:crosses val="min"/>
        <c:crossBetween val="between"/>
        <c:majorUnit val="500000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0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99.xml.rels>&#65279;<?xml version="1.0" encoding="utf-8"?><Relationships xmlns="http://schemas.openxmlformats.org/package/2006/relationships"><Relationship Type="http://schemas.openxmlformats.org/officeDocument/2006/relationships/slide" Target="/ppt/slides/slide199.xml" Id="rId2" /><Relationship Type="http://schemas.openxmlformats.org/officeDocument/2006/relationships/notesMaster" Target="/ppt/notesMasters/notesMaster1.xml" Id="rId1" /></Relationships>
</file>

<file path=ppt/notesSlides/notesSlide1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94374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99.xml.rels>&#65279;<?xml version="1.0" encoding="utf-8"?><Relationships xmlns="http://schemas.openxmlformats.org/package/2006/relationships"><Relationship Type="http://schemas.openxmlformats.org/officeDocument/2006/relationships/tags" Target="/ppt/tags/tag821.xml" Id="rId13" /><Relationship Type="http://schemas.openxmlformats.org/officeDocument/2006/relationships/tags" Target="/ppt/tags/tag826.xml" Id="rId18" /><Relationship Type="http://schemas.openxmlformats.org/officeDocument/2006/relationships/tags" Target="/ppt/tags/tag834.xml" Id="rId26" /><Relationship Type="http://schemas.openxmlformats.org/officeDocument/2006/relationships/tags" Target="/ppt/tags/tag847.xml" Id="rId39" /><Relationship Type="http://schemas.openxmlformats.org/officeDocument/2006/relationships/tags" Target="/ppt/tags/tag829.xml" Id="rId21" /><Relationship Type="http://schemas.openxmlformats.org/officeDocument/2006/relationships/tags" Target="/ppt/tags/tag842.xml" Id="rId34" /><Relationship Type="http://schemas.openxmlformats.org/officeDocument/2006/relationships/tags" Target="/ppt/tags/tag850.xml" Id="rId42" /><Relationship Type="http://schemas.openxmlformats.org/officeDocument/2006/relationships/tags" Target="/ppt/tags/tag855.xml" Id="rId47" /><Relationship Type="http://schemas.openxmlformats.org/officeDocument/2006/relationships/tags" Target="/ppt/tags/tag858.xml" Id="rId50" /><Relationship Type="http://schemas.openxmlformats.org/officeDocument/2006/relationships/tags" Target="/ppt/tags/tag863.xml" Id="rId55" /><Relationship Type="http://schemas.openxmlformats.org/officeDocument/2006/relationships/tags" Target="/ppt/tags/tag815.xml" Id="rId7" /><Relationship Type="http://schemas.openxmlformats.org/officeDocument/2006/relationships/tags" Target="/ppt/tags/tag810.xml" Id="rId2" /><Relationship Type="http://schemas.openxmlformats.org/officeDocument/2006/relationships/tags" Target="/ppt/tags/tag824.xml" Id="rId16" /><Relationship Type="http://schemas.openxmlformats.org/officeDocument/2006/relationships/tags" Target="/ppt/tags/tag837.xml" Id="rId29" /><Relationship Type="http://schemas.openxmlformats.org/officeDocument/2006/relationships/tags" Target="/ppt/tags/tag819.xml" Id="rId11" /><Relationship Type="http://schemas.openxmlformats.org/officeDocument/2006/relationships/tags" Target="/ppt/tags/tag832.xml" Id="rId24" /><Relationship Type="http://schemas.openxmlformats.org/officeDocument/2006/relationships/tags" Target="/ppt/tags/tag840.xml" Id="rId32" /><Relationship Type="http://schemas.openxmlformats.org/officeDocument/2006/relationships/tags" Target="/ppt/tags/tag845.xml" Id="rId37" /><Relationship Type="http://schemas.openxmlformats.org/officeDocument/2006/relationships/tags" Target="/ppt/tags/tag848.xml" Id="rId40" /><Relationship Type="http://schemas.openxmlformats.org/officeDocument/2006/relationships/tags" Target="/ppt/tags/tag853.xml" Id="rId45" /><Relationship Type="http://schemas.openxmlformats.org/officeDocument/2006/relationships/tags" Target="/ppt/tags/tag861.xml" Id="rId53" /><Relationship Type="http://schemas.openxmlformats.org/officeDocument/2006/relationships/oleObject" Target="/ppt/embeddings/oleObject203.bin" Id="rId58" /><Relationship Type="http://schemas.openxmlformats.org/officeDocument/2006/relationships/tags" Target="/ppt/tags/tag813.xml" Id="rId5" /><Relationship Type="http://schemas.openxmlformats.org/officeDocument/2006/relationships/tags" Target="/ppt/tags/tag827.xml" Id="rId19" /><Relationship Type="http://schemas.openxmlformats.org/officeDocument/2006/relationships/tags" Target="/ppt/tags/tag812.xml" Id="rId4" /><Relationship Type="http://schemas.openxmlformats.org/officeDocument/2006/relationships/tags" Target="/ppt/tags/tag817.xml" Id="rId9" /><Relationship Type="http://schemas.openxmlformats.org/officeDocument/2006/relationships/tags" Target="/ppt/tags/tag822.xml" Id="rId14" /><Relationship Type="http://schemas.openxmlformats.org/officeDocument/2006/relationships/tags" Target="/ppt/tags/tag830.xml" Id="rId22" /><Relationship Type="http://schemas.openxmlformats.org/officeDocument/2006/relationships/tags" Target="/ppt/tags/tag835.xml" Id="rId27" /><Relationship Type="http://schemas.openxmlformats.org/officeDocument/2006/relationships/tags" Target="/ppt/tags/tag838.xml" Id="rId30" /><Relationship Type="http://schemas.openxmlformats.org/officeDocument/2006/relationships/tags" Target="/ppt/tags/tag843.xml" Id="rId35" /><Relationship Type="http://schemas.openxmlformats.org/officeDocument/2006/relationships/tags" Target="/ppt/tags/tag851.xml" Id="rId43" /><Relationship Type="http://schemas.openxmlformats.org/officeDocument/2006/relationships/tags" Target="/ppt/tags/tag856.xml" Id="rId48" /><Relationship Type="http://schemas.openxmlformats.org/officeDocument/2006/relationships/slideLayout" Target="/ppt/slideLayouts/slideLayout5.xml" Id="rId56" /><Relationship Type="http://schemas.openxmlformats.org/officeDocument/2006/relationships/tags" Target="/ppt/tags/tag816.xml" Id="rId8" /><Relationship Type="http://schemas.openxmlformats.org/officeDocument/2006/relationships/tags" Target="/ppt/tags/tag859.xml" Id="rId51" /><Relationship Type="http://schemas.openxmlformats.org/officeDocument/2006/relationships/tags" Target="/ppt/tags/tag811.xml" Id="rId3" /><Relationship Type="http://schemas.openxmlformats.org/officeDocument/2006/relationships/tags" Target="/ppt/tags/tag820.xml" Id="rId12" /><Relationship Type="http://schemas.openxmlformats.org/officeDocument/2006/relationships/tags" Target="/ppt/tags/tag825.xml" Id="rId17" /><Relationship Type="http://schemas.openxmlformats.org/officeDocument/2006/relationships/tags" Target="/ppt/tags/tag833.xml" Id="rId25" /><Relationship Type="http://schemas.openxmlformats.org/officeDocument/2006/relationships/tags" Target="/ppt/tags/tag841.xml" Id="rId33" /><Relationship Type="http://schemas.openxmlformats.org/officeDocument/2006/relationships/tags" Target="/ppt/tags/tag846.xml" Id="rId38" /><Relationship Type="http://schemas.openxmlformats.org/officeDocument/2006/relationships/tags" Target="/ppt/tags/tag854.xml" Id="rId46" /><Relationship Type="http://schemas.openxmlformats.org/officeDocument/2006/relationships/image" Target="/ppt/media/image4.emf" Id="rId59" /><Relationship Type="http://schemas.openxmlformats.org/officeDocument/2006/relationships/tags" Target="/ppt/tags/tag828.xml" Id="rId20" /><Relationship Type="http://schemas.openxmlformats.org/officeDocument/2006/relationships/tags" Target="/ppt/tags/tag849.xml" Id="rId41" /><Relationship Type="http://schemas.openxmlformats.org/officeDocument/2006/relationships/tags" Target="/ppt/tags/tag862.xml" Id="rId54" /><Relationship Type="http://schemas.openxmlformats.org/officeDocument/2006/relationships/vmlDrawing" Target="/ppt/drawings/vmlDrawing203.vml" Id="rId1" /><Relationship Type="http://schemas.openxmlformats.org/officeDocument/2006/relationships/tags" Target="/ppt/tags/tag814.xml" Id="rId6" /><Relationship Type="http://schemas.openxmlformats.org/officeDocument/2006/relationships/tags" Target="/ppt/tags/tag823.xml" Id="rId15" /><Relationship Type="http://schemas.openxmlformats.org/officeDocument/2006/relationships/tags" Target="/ppt/tags/tag831.xml" Id="rId23" /><Relationship Type="http://schemas.openxmlformats.org/officeDocument/2006/relationships/tags" Target="/ppt/tags/tag836.xml" Id="rId28" /><Relationship Type="http://schemas.openxmlformats.org/officeDocument/2006/relationships/tags" Target="/ppt/tags/tag844.xml" Id="rId36" /><Relationship Type="http://schemas.openxmlformats.org/officeDocument/2006/relationships/tags" Target="/ppt/tags/tag857.xml" Id="rId49" /><Relationship Type="http://schemas.openxmlformats.org/officeDocument/2006/relationships/notesSlide" Target="/ppt/notesSlides/notesSlide199.xml" Id="rId57" /><Relationship Type="http://schemas.openxmlformats.org/officeDocument/2006/relationships/tags" Target="/ppt/tags/tag818.xml" Id="rId10" /><Relationship Type="http://schemas.openxmlformats.org/officeDocument/2006/relationships/tags" Target="/ppt/tags/tag839.xml" Id="rId31" /><Relationship Type="http://schemas.openxmlformats.org/officeDocument/2006/relationships/tags" Target="/ppt/tags/tag852.xml" Id="rId44" /><Relationship Type="http://schemas.openxmlformats.org/officeDocument/2006/relationships/tags" Target="/ppt/tags/tag860.xml" Id="rId52" /><Relationship Type="http://schemas.openxmlformats.org/officeDocument/2006/relationships/chart" Target="/ppt/charts/chart28.xml" Id="rId60" /></Relationships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8512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1" name="think-cell 幻灯片" r:id="rId58" imgW="349" imgH="350" progId="TCLayout.ActiveDocument.1">
                  <p:embed/>
                </p:oleObj>
              </mc:Choice>
              <mc:Fallback>
                <p:oleObj name="think-cell 幻灯片" r:id="rId5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Time series: Stacked column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797C923-9F7B-153F-A9FD-FB3D74C6416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48199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olumns, bar, bars, think-cell, chart, charts, graph, graphs, comment</a:t>
            </a:r>
          </a:p>
        </p:txBody>
      </p:sp>
      <p:graphicFrame>
        <p:nvGraphicFramePr>
          <p:cNvPr id="67" name="Chart 3">
            <a:extLst>
              <a:ext uri="{FF2B5EF4-FFF2-40B4-BE49-F238E27FC236}">
                <a16:creationId xmlns:a16="http://schemas.microsoft.com/office/drawing/2014/main" id="{C8582285-62CF-48A1-A26D-19EBEFBD296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88426001"/>
              </p:ext>
            </p:extLst>
          </p:nvPr>
        </p:nvGraphicFramePr>
        <p:xfrm>
          <a:off x="782638" y="2222500"/>
          <a:ext cx="7453312" cy="3279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16" name="Rectangle 148">
            <a:extLst>
              <a:ext uri="{FF2B5EF4-FFF2-40B4-BE49-F238E27FC236}">
                <a16:creationId xmlns:a16="http://schemas.microsoft.com/office/drawing/2014/main" id="{95913313-EABA-A474-5144-5F556FE1552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573087" y="5329238"/>
            <a:ext cx="1158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14A923A-D948-4A39-BC56-9CBB2DED64D5}" type="datetime'0''''''''''''''''''''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64" name="Rectangle 149">
            <a:extLst>
              <a:ext uri="{FF2B5EF4-FFF2-40B4-BE49-F238E27FC236}">
                <a16:creationId xmlns:a16="http://schemas.microsoft.com/office/drawing/2014/main" id="{CDF04F5A-3AC9-9140-6C5C-08E36222AF18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460375" y="4810125"/>
            <a:ext cx="2286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C758F47-056F-4901-A2E3-B5FCB70B01C3}" type="datetime'''''''''''5''''''''''''''''''''''0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66" name="Rectangle 150">
            <a:extLst>
              <a:ext uri="{FF2B5EF4-FFF2-40B4-BE49-F238E27FC236}">
                <a16:creationId xmlns:a16="http://schemas.microsoft.com/office/drawing/2014/main" id="{318732A0-2590-4255-DFC3-E1A287C95DFF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82587" y="4291013"/>
            <a:ext cx="3063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C2EE596-84F2-43D8-87A6-24AE3DCD796C}" type="datetime'''''1''''''''0''''''''''''''0'">
              <a:rPr lang="en-US" altLang="en-US" sz="1400" smtClean="0">
                <a:solidFill>
                  <a:schemeClr val="bg2">
                    <a:lumMod val="10000"/>
                  </a:schemeClr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68" name="Rectangle 151">
            <a:extLst>
              <a:ext uri="{FF2B5EF4-FFF2-40B4-BE49-F238E27FC236}">
                <a16:creationId xmlns:a16="http://schemas.microsoft.com/office/drawing/2014/main" id="{1D34BA56-9B0F-0106-1FBD-D6D0DAA97148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385763" y="3771900"/>
            <a:ext cx="3032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81DCDB6-04EB-4E33-89D5-096B87D1F7F0}" type="datetime'''1''''''''''''5''''0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0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69" name="Rectangle 152">
            <a:extLst>
              <a:ext uri="{FF2B5EF4-FFF2-40B4-BE49-F238E27FC236}">
                <a16:creationId xmlns:a16="http://schemas.microsoft.com/office/drawing/2014/main" id="{E905DD74-3073-650F-71F6-E4949098693B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346074" y="3252788"/>
            <a:ext cx="3429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510204D-9AAE-40D2-964A-DB00AA6F557F}" type="datetime'''''''''''''''''''''2''''0''''''''''''''''0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0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5" name="Rectangle 153">
            <a:extLst>
              <a:ext uri="{FF2B5EF4-FFF2-40B4-BE49-F238E27FC236}">
                <a16:creationId xmlns:a16="http://schemas.microsoft.com/office/drawing/2014/main" id="{922E217C-C23C-738A-A2CF-4725DC0D2A1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49250" y="2733675"/>
            <a:ext cx="3397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528A4B4-1D40-45E6-B35E-60F316E7AE27}" type="datetime'''''2''''''''''''5''''0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0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70" name="Rectangle 154">
            <a:extLst>
              <a:ext uri="{FF2B5EF4-FFF2-40B4-BE49-F238E27FC236}">
                <a16:creationId xmlns:a16="http://schemas.microsoft.com/office/drawing/2014/main" id="{9F1E85FB-3EDC-4E2E-7DAB-91FFE80701DB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47663" y="2214563"/>
            <a:ext cx="3413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C0F38D3-8BE8-4B0F-A926-851E501DC1D8}" type="datetime'''''''3''0''''''''''''0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0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cxnSp>
        <p:nvCxnSpPr>
          <p:cNvPr id="71" name="Straight Connector 10">
            <a:extLst>
              <a:ext uri="{FF2B5EF4-FFF2-40B4-BE49-F238E27FC236}">
                <a16:creationId xmlns:a16="http://schemas.microsoft.com/office/drawing/2014/main" id="{B61CC82B-F6D6-514F-CAEB-D905BE3C0D37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 flipV="1">
            <a:off x="1270000" y="2816225"/>
            <a:ext cx="4859338" cy="15017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53">
            <a:extLst>
              <a:ext uri="{FF2B5EF4-FFF2-40B4-BE49-F238E27FC236}">
                <a16:creationId xmlns:a16="http://schemas.microsoft.com/office/drawing/2014/main" id="{1112B99C-9CB1-182D-54E6-DE3086D1F6CE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 flipV="1">
            <a:off x="6938963" y="2019300"/>
            <a:ext cx="0" cy="5032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54">
            <a:extLst>
              <a:ext uri="{FF2B5EF4-FFF2-40B4-BE49-F238E27FC236}">
                <a16:creationId xmlns:a16="http://schemas.microsoft.com/office/drawing/2014/main" id="{DB88A473-E16E-7B23-DB0B-5E44A7BC38B4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6938963" y="2019300"/>
            <a:ext cx="8096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55">
            <a:extLst>
              <a:ext uri="{FF2B5EF4-FFF2-40B4-BE49-F238E27FC236}">
                <a16:creationId xmlns:a16="http://schemas.microsoft.com/office/drawing/2014/main" id="{2C92BCC4-0BE2-A585-B2B3-5EEFB25BDF4C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>
            <a:off x="7748588" y="2019300"/>
            <a:ext cx="0" cy="1889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8" name="Rectangle 59">
            <a:extLst>
              <a:ext uri="{FF2B5EF4-FFF2-40B4-BE49-F238E27FC236}">
                <a16:creationId xmlns:a16="http://schemas.microsoft.com/office/drawing/2014/main" id="{1FFC3F17-0707-817C-CCF7-13D63D1706CA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1057275" y="5478463"/>
            <a:ext cx="4254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589451F-AB60-4443-898E-4BFD4238F3D4}" type="datetime'''''''''''2''0''''''''''''''''1''''''''''6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75" name="Master text box">
            <a:extLst>
              <a:ext uri="{FF2B5EF4-FFF2-40B4-BE49-F238E27FC236}">
                <a16:creationId xmlns:a16="http://schemas.microsoft.com/office/drawing/2014/main" id="{9C14D628-31D1-3B5C-3566-3B43BBAA2D45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1862138" y="4762500"/>
            <a:ext cx="436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CAD789-B717-48E0-8B44-1E32D9525E29}" type="datetime'''3''''''''''''''''''''5''''''''.''''''''''''''''''4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4</a:t>
            </a:fld>
            <a:endParaRPr lang="en-US" sz="1400">
              <a:sym typeface="+mn-lt"/>
            </a:endParaRPr>
          </a:p>
        </p:txBody>
      </p:sp>
      <p:sp>
        <p:nvSpPr>
          <p:cNvPr id="76" name="Master text box">
            <a:extLst>
              <a:ext uri="{FF2B5EF4-FFF2-40B4-BE49-F238E27FC236}">
                <a16:creationId xmlns:a16="http://schemas.microsoft.com/office/drawing/2014/main" id="{1F2BCA7A-54D4-8B91-1227-22B52F9D00D7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1863725" y="5129213"/>
            <a:ext cx="4318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7F0917-CFDD-4FDA-8E5D-E8F09D8329AE}" type="datetime'''''''''3''''''''''''''''''5''''''.''''''''''''''''''''''''3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3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77" name="Rectangle 60">
            <a:extLst>
              <a:ext uri="{FF2B5EF4-FFF2-40B4-BE49-F238E27FC236}">
                <a16:creationId xmlns:a16="http://schemas.microsoft.com/office/drawing/2014/main" id="{BB7BF792-FA3C-497D-EF4C-4D27239BE529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1874838" y="5478463"/>
            <a:ext cx="4111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00E9DDE-05C6-4160-BFBA-FB49A5F11C8F}" type="datetime'''''''''2''''''''''''0''''1''''''''''''7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78" name="Master text box">
            <a:extLst>
              <a:ext uri="{FF2B5EF4-FFF2-40B4-BE49-F238E27FC236}">
                <a16:creationId xmlns:a16="http://schemas.microsoft.com/office/drawing/2014/main" id="{C71D92C1-5824-3F32-4FE9-5B9E083318FB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2692400" y="4745038"/>
            <a:ext cx="3952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641D15-59DA-4467-B713-74E2D8D3430D}" type="datetime'''''''''''3''''''''9''''''''''''''''''.''''''1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.1</a:t>
            </a:fld>
            <a:endParaRPr lang="en-US" sz="1400">
              <a:sym typeface="+mn-lt"/>
            </a:endParaRPr>
          </a:p>
        </p:txBody>
      </p:sp>
      <p:sp>
        <p:nvSpPr>
          <p:cNvPr id="79" name="Master text box">
            <a:extLst>
              <a:ext uri="{FF2B5EF4-FFF2-40B4-BE49-F238E27FC236}">
                <a16:creationId xmlns:a16="http://schemas.microsoft.com/office/drawing/2014/main" id="{F3338C4B-3C5D-0AB4-6F36-AE1AA90C7CCC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2673350" y="5130800"/>
            <a:ext cx="4333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CCCDEB-B4E8-469D-BF39-1F20FF9C95BD}" type="datetime'''3''''''''''''''''''''''''''''''''''5.''''''''''''2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.2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80" name="Rectangle 61">
            <a:extLst>
              <a:ext uri="{FF2B5EF4-FFF2-40B4-BE49-F238E27FC236}">
                <a16:creationId xmlns:a16="http://schemas.microsoft.com/office/drawing/2014/main" id="{C08AE803-1525-368E-6864-3ED3CA395416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2674938" y="5478463"/>
            <a:ext cx="4286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2726EB2-89CE-450D-9AE7-1D2710F16B85}" type="datetime'''''''''''''''''''''''''''''''''''2''''''''''''''0''1''8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81" name="Master text box">
            <a:extLst>
              <a:ext uri="{FF2B5EF4-FFF2-40B4-BE49-F238E27FC236}">
                <a16:creationId xmlns:a16="http://schemas.microsoft.com/office/drawing/2014/main" id="{1B676C32-8AFC-2BBA-93FA-A3059E88B002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3479800" y="4662488"/>
            <a:ext cx="4397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5F3E66-8389-4E94-9B75-55BC10C31F76}" type="datetime'''''''''''''4''8''''.''''''''6''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.6</a:t>
            </a:fld>
            <a:endParaRPr lang="en-US" sz="1400">
              <a:sym typeface="+mn-lt"/>
            </a:endParaRPr>
          </a:p>
        </p:txBody>
      </p:sp>
      <p:sp>
        <p:nvSpPr>
          <p:cNvPr id="82" name="Master text box">
            <a:extLst>
              <a:ext uri="{FF2B5EF4-FFF2-40B4-BE49-F238E27FC236}">
                <a16:creationId xmlns:a16="http://schemas.microsoft.com/office/drawing/2014/main" id="{876DFADD-AE96-05A7-B03A-11D15AE2C347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3482975" y="5113338"/>
            <a:ext cx="4333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3E8D0F-9346-4D53-904C-E88F31474C5A}" type="datetime'''''''''''''''''''''''''''''38''''''.3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.3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83" name="Rectangle 62">
            <a:extLst>
              <a:ext uri="{FF2B5EF4-FFF2-40B4-BE49-F238E27FC236}">
                <a16:creationId xmlns:a16="http://schemas.microsoft.com/office/drawing/2014/main" id="{41F999FE-1F09-D78B-12A0-FDBF7C02F195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3486150" y="5478463"/>
            <a:ext cx="4254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87106DF-C0B2-47B1-B396-A535E1F39E83}" type="datetime'''''''''''''''''''''''2''''0''''''''''''''''''''''19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84" name="Master text box">
            <a:extLst>
              <a:ext uri="{FF2B5EF4-FFF2-40B4-BE49-F238E27FC236}">
                <a16:creationId xmlns:a16="http://schemas.microsoft.com/office/drawing/2014/main" id="{DB175A00-E406-160C-D7B2-715881A54363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4291013" y="4406900"/>
            <a:ext cx="436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306701-37E2-4BFA-8F12-0253EB3A0412}" type="datetime'''''''''''''''''''''''''''''''6''''''8''''''''''''''.9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.9</a:t>
            </a:fld>
            <a:endParaRPr lang="en-US" sz="1400">
              <a:sym typeface="+mn-lt"/>
            </a:endParaRPr>
          </a:p>
        </p:txBody>
      </p:sp>
      <p:sp>
        <p:nvSpPr>
          <p:cNvPr id="85" name="Master text box">
            <a:extLst>
              <a:ext uri="{FF2B5EF4-FFF2-40B4-BE49-F238E27FC236}">
                <a16:creationId xmlns:a16="http://schemas.microsoft.com/office/drawing/2014/main" id="{CCD5DA6E-70B7-9A34-B423-DBC02CA2169C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4291013" y="5038725"/>
            <a:ext cx="4349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605EC9-2F70-4FD0-B74E-6C9C703A807B}" type="datetime'''''''5''''''''''''2''''''''''''.''''''''''9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.9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88" name="Master text box">
            <a:extLst>
              <a:ext uri="{FF2B5EF4-FFF2-40B4-BE49-F238E27FC236}">
                <a16:creationId xmlns:a16="http://schemas.microsoft.com/office/drawing/2014/main" id="{8357BDC3-21CB-41AE-C436-24E834F2129D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5110163" y="4962525"/>
            <a:ext cx="420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0A0A29-FB43-43A4-A3EA-3AD02123FDA6}" type="datetime'''''''''''''6''''''''''''''''''''''''7''''''''''''.''5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.5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89" name="Rectangle 128">
            <a:extLst>
              <a:ext uri="{FF2B5EF4-FFF2-40B4-BE49-F238E27FC236}">
                <a16:creationId xmlns:a16="http://schemas.microsoft.com/office/drawing/2014/main" id="{8DA3E9C9-1109-BCCB-2063-E88C7AB8B1AB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5106988" y="5478463"/>
            <a:ext cx="4254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CB9F89B-F76E-4CC1-A80E-425A18E55048}" type="datetime'''2''''''''0''''''''''''''''''''''''''''2''''''''''''1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90" name="Master text box">
            <a:extLst>
              <a:ext uri="{FF2B5EF4-FFF2-40B4-BE49-F238E27FC236}">
                <a16:creationId xmlns:a16="http://schemas.microsoft.com/office/drawing/2014/main" id="{75F75AA4-966C-3346-D872-12DDB22F794C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5891213" y="3743325"/>
            <a:ext cx="4778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F380CE-529F-45B8-A1E9-C5C3AFFC23A5}" type="datetime'''''''''''''''1''''1''8''''''''''''.''4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8.4</a:t>
            </a:fld>
            <a:endParaRPr lang="en-US" sz="1400">
              <a:sym typeface="+mn-lt"/>
            </a:endParaRPr>
          </a:p>
        </p:txBody>
      </p:sp>
      <p:sp>
        <p:nvSpPr>
          <p:cNvPr id="91" name="Master text box">
            <a:extLst>
              <a:ext uri="{FF2B5EF4-FFF2-40B4-BE49-F238E27FC236}">
                <a16:creationId xmlns:a16="http://schemas.microsoft.com/office/drawing/2014/main" id="{CB5FCDDA-E0B4-F878-E700-70B3D29275F4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5930900" y="4835525"/>
            <a:ext cx="396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2E971A-5FB3-412C-96FB-34BBD0637A5A}" type="datetime'''''''''''''''''''''''''''9''''''''''''1''''''''''''''.9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.9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92" name="Rectangle 129">
            <a:extLst>
              <a:ext uri="{FF2B5EF4-FFF2-40B4-BE49-F238E27FC236}">
                <a16:creationId xmlns:a16="http://schemas.microsoft.com/office/drawing/2014/main" id="{C768C77D-EAA2-E5D7-2F1A-8AC47A43F73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899150" y="5478463"/>
            <a:ext cx="4619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952B0D2-AF62-4F2E-B533-A430AF3C640D}" type="datetime'''''''''''''2''''''0''''''''''''''22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93" name="Rectangle 130">
            <a:extLst>
              <a:ext uri="{FF2B5EF4-FFF2-40B4-BE49-F238E27FC236}">
                <a16:creationId xmlns:a16="http://schemas.microsoft.com/office/drawing/2014/main" id="{D087D013-1949-CBE3-4579-E4AB84451CEF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630987" y="5478463"/>
            <a:ext cx="61753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2749B73-5B7E-4C63-B419-373DF98F65B3}" type="datetime'''2''''0''''''''''''''''''''''''''''2''''''3 ''''F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3 F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94" name="Rectangle 131">
            <a:extLst>
              <a:ext uri="{FF2B5EF4-FFF2-40B4-BE49-F238E27FC236}">
                <a16:creationId xmlns:a16="http://schemas.microsoft.com/office/drawing/2014/main" id="{1C61E5A7-9D0B-8B88-92BB-1D0AA49DDB6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7437437" y="5478463"/>
            <a:ext cx="622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A154FA9-4105-44E6-956E-BD052DF3B875}" type="datetime'2''''''''''''''''''''''''''''''''''''0''''''24 ''F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4 F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95" name="Rectangle 160">
            <a:extLst>
              <a:ext uri="{FF2B5EF4-FFF2-40B4-BE49-F238E27FC236}">
                <a16:creationId xmlns:a16="http://schemas.microsoft.com/office/drawing/2014/main" id="{435FF25C-D52B-A07A-2665-D7E3B1CE990E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47663" y="1858963"/>
            <a:ext cx="151923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  <a:sym typeface="+mn-lt"/>
              </a:rPr>
              <a:t>Revenue [USD m]</a:t>
            </a:r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96" name="Master text box">
            <a:extLst>
              <a:ext uri="{FF2B5EF4-FFF2-40B4-BE49-F238E27FC236}">
                <a16:creationId xmlns:a16="http://schemas.microsoft.com/office/drawing/2014/main" id="{71AF4229-10B3-0B5F-A4E3-226A9C8CD568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1052513" y="4783138"/>
            <a:ext cx="436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5339EF-3FE7-42D7-B931-CF5F9FBCF395}" type="datetime'''''''''''''''''''''2''''''''''''9.''''4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4</a:t>
            </a:fld>
            <a:endParaRPr lang="en-US" sz="1400">
              <a:sym typeface="+mn-lt"/>
            </a:endParaRPr>
          </a:p>
        </p:txBody>
      </p:sp>
      <p:sp>
        <p:nvSpPr>
          <p:cNvPr id="97" name="Master text box">
            <a:extLst>
              <a:ext uri="{FF2B5EF4-FFF2-40B4-BE49-F238E27FC236}">
                <a16:creationId xmlns:a16="http://schemas.microsoft.com/office/drawing/2014/main" id="{0FC05ECB-A2B7-9489-C1C3-E1CF7CDA6DD5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1055688" y="5124450"/>
            <a:ext cx="430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783A89-A7B1-4B82-97C6-ED27A43A12D0}" type="datetime'36''''.3''''''''''''''''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.3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86" name="Rectangle 127">
            <a:extLst>
              <a:ext uri="{FF2B5EF4-FFF2-40B4-BE49-F238E27FC236}">
                <a16:creationId xmlns:a16="http://schemas.microsoft.com/office/drawing/2014/main" id="{D21B9D12-635F-3476-A15B-894314B462E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4275138" y="5478463"/>
            <a:ext cx="4667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45B497C-48C7-44EB-A843-FC8BEBA77644}" type="datetime'2''''02''''''''''''''''''''''''''''''''''''''''''''''''0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99" name="Master text box">
            <a:extLst>
              <a:ext uri="{FF2B5EF4-FFF2-40B4-BE49-F238E27FC236}">
                <a16:creationId xmlns:a16="http://schemas.microsoft.com/office/drawing/2014/main" id="{206EFEDD-9C71-0892-C377-DBAE6AECD433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1060450" y="4498975"/>
            <a:ext cx="420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1661ED-B538-4846-A396-EFA50A926CD6}" type="datetime'''''''''6''''''''''''''''5''''''''''.''''7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7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00" name="Master text box">
            <a:extLst>
              <a:ext uri="{FF2B5EF4-FFF2-40B4-BE49-F238E27FC236}">
                <a16:creationId xmlns:a16="http://schemas.microsoft.com/office/drawing/2014/main" id="{58D5F6BE-EF3A-6D31-F76E-4E925E99822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1874838" y="4448175"/>
            <a:ext cx="4095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498FFA-E4E3-4C0E-BB90-FF0839A695B8}" type="datetime'''''''''7''''0.''7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7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01" name="Master text box">
            <a:extLst>
              <a:ext uri="{FF2B5EF4-FFF2-40B4-BE49-F238E27FC236}">
                <a16:creationId xmlns:a16="http://schemas.microsoft.com/office/drawing/2014/main" id="{197EFC2B-9F67-D05C-F3CE-2205455ED49D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2679700" y="4410075"/>
            <a:ext cx="420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8904EF-8914-49F7-9E44-F28E229DAC0C}" type="datetime'''''''''''''''''''''7''''4''''''''.''''''''''''''''''''''3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3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08" name="Master text box">
            <a:extLst>
              <a:ext uri="{FF2B5EF4-FFF2-40B4-BE49-F238E27FC236}">
                <a16:creationId xmlns:a16="http://schemas.microsoft.com/office/drawing/2014/main" id="{D04B36D9-DAED-2829-4FBA-F7F63D9CC791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3481388" y="4279900"/>
            <a:ext cx="436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E951DF-2742-4E58-9865-730A2D40F5CB}" type="datetime'''8''''''''''''6''.''''''''''''''''''''''''''''''''''''9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.9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02" name="Master text box">
            <a:extLst>
              <a:ext uri="{FF2B5EF4-FFF2-40B4-BE49-F238E27FC236}">
                <a16:creationId xmlns:a16="http://schemas.microsoft.com/office/drawing/2014/main" id="{02D50168-A220-6D43-2B1B-209FDDB32872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5100638" y="4122738"/>
            <a:ext cx="438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0879AB-A5C1-4B30-A246-8B1A59D987FB}" type="datetime'9''4''''''''''''''''''''''.''''''''''''5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4.5</a:t>
            </a:fld>
            <a:endParaRPr lang="en-US" sz="1400">
              <a:sym typeface="+mn-lt"/>
            </a:endParaRPr>
          </a:p>
        </p:txBody>
      </p:sp>
      <p:sp>
        <p:nvSpPr>
          <p:cNvPr id="104" name="Master text box">
            <a:extLst>
              <a:ext uri="{FF2B5EF4-FFF2-40B4-BE49-F238E27FC236}">
                <a16:creationId xmlns:a16="http://schemas.microsoft.com/office/drawing/2014/main" id="{2A17DAF8-A187-746F-9654-734ABE4F64F6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5084763" y="3500438"/>
            <a:ext cx="4714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EA64CA-C1B6-42E1-8395-AC06366A20A5}" type="datetime'1''''6''''''''''''''''1''''''.''''''9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1.9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05" name="Master text box">
            <a:extLst>
              <a:ext uri="{FF2B5EF4-FFF2-40B4-BE49-F238E27FC236}">
                <a16:creationId xmlns:a16="http://schemas.microsoft.com/office/drawing/2014/main" id="{C20A69E2-7EFF-CD7D-FBA5-B700F0119DB7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5872162" y="2997200"/>
            <a:ext cx="5159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A2DBF1-CE7C-4FE1-874E-5C50F7BF78FD}" type="datetime'''''''''2''''1''''''0.''''''''''''''4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0.4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06" name="Master text box">
            <a:extLst>
              <a:ext uri="{FF2B5EF4-FFF2-40B4-BE49-F238E27FC236}">
                <a16:creationId xmlns:a16="http://schemas.microsoft.com/office/drawing/2014/main" id="{B24306D8-F895-0A9F-7CDE-C5CE7A1A50DF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6665912" y="2560638"/>
            <a:ext cx="547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037758-A1B2-4B4A-9521-A788E5E7CE27}" type="datetime'''''''''''2''''''5''''2.''''''''5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2.5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07" name="Master text box">
            <a:extLst>
              <a:ext uri="{FF2B5EF4-FFF2-40B4-BE49-F238E27FC236}">
                <a16:creationId xmlns:a16="http://schemas.microsoft.com/office/drawing/2014/main" id="{E1E552DA-7602-8274-3FD2-417EA963F47B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7481887" y="2246313"/>
            <a:ext cx="533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D04695-881B-447F-BA29-40CC1ADE8E68}" type="datetime'''''''2''''8''''''''''''2''''.''7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2.7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03" name="Master text box">
            <a:extLst>
              <a:ext uri="{FF2B5EF4-FFF2-40B4-BE49-F238E27FC236}">
                <a16:creationId xmlns:a16="http://schemas.microsoft.com/office/drawing/2014/main" id="{7ECCB4FA-3543-4AB3-DB63-A03CEC6A2661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4271963" y="3917950"/>
            <a:ext cx="4746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E9FABD-0CFD-4CD7-BF43-F9CE55C06D46}" type="datetime'''''''''''''''''''''1''''2''1.''''''''''8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1.8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09" name="Master text box">
            <a:extLst>
              <a:ext uri="{FF2B5EF4-FFF2-40B4-BE49-F238E27FC236}">
                <a16:creationId xmlns:a16="http://schemas.microsoft.com/office/drawing/2014/main" id="{2A063B69-E572-2B7A-B139-D46C5CCAB475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3235325" y="3265488"/>
            <a:ext cx="928688" cy="603250"/>
          </a:xfrm>
          <a:prstGeom prst="ellipse">
            <a:avLst/>
          </a:prstGeom>
          <a:solidFill>
            <a:srgbClr val="FFFFFF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CAGR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C0664A-D76E-49BE-A77E-91BEB7770839}" type="datetime'''''''+2''''''''''''1''.4''%''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1.4%</a:t>
            </a:fld>
            <a:endParaRPr lang="en-US" sz="1400" b="1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10" name="Oval 52">
            <a:extLst>
              <a:ext uri="{FF2B5EF4-FFF2-40B4-BE49-F238E27FC236}">
                <a16:creationId xmlns:a16="http://schemas.microsoft.com/office/drawing/2014/main" id="{4C4D0294-F4E0-5198-5807-F643E74AE595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7118350" y="1868488"/>
            <a:ext cx="452438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5BF66C3-175B-4CB5-832D-159992EF7452}" type="datetime'''''1''''''''''''''''1''''''''''''''''''''''''%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1%</a:t>
            </a:fld>
            <a:endParaRPr lang="en-US" sz="1400" b="1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11" name="Rectangle 138">
            <a:extLst>
              <a:ext uri="{FF2B5EF4-FFF2-40B4-BE49-F238E27FC236}">
                <a16:creationId xmlns:a16="http://schemas.microsoft.com/office/drawing/2014/main" id="{696B2F82-2308-5F9D-6590-C397C01C5224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2605088" y="577850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39">
            <a:extLst>
              <a:ext uri="{FF2B5EF4-FFF2-40B4-BE49-F238E27FC236}">
                <a16:creationId xmlns:a16="http://schemas.microsoft.com/office/drawing/2014/main" id="{19523DF4-C582-E40F-9E2E-C848644A1462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4008438" y="5778500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40">
            <a:extLst>
              <a:ext uri="{FF2B5EF4-FFF2-40B4-BE49-F238E27FC236}">
                <a16:creationId xmlns:a16="http://schemas.microsoft.com/office/drawing/2014/main" id="{C9B70778-DEB5-1038-B67B-BE0A3845FD33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5408613" y="57785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Master text box">
            <a:extLst>
              <a:ext uri="{FF2B5EF4-FFF2-40B4-BE49-F238E27FC236}">
                <a16:creationId xmlns:a16="http://schemas.microsoft.com/office/drawing/2014/main" id="{A0702B83-0A85-5B64-EAA6-BE28FF97C88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2906713" y="5773738"/>
            <a:ext cx="10001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9A23F58-6284-41E7-99E4-1EF54EDEC1D9}" type="datetime'''''''''''''''''''''Com''p''''''''''''''''''''an''y ''''''A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Company A</a:t>
            </a:fld>
            <a:endParaRPr lang="en-US" sz="1400" baseline="30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15" name="Master text box">
            <a:extLst>
              <a:ext uri="{FF2B5EF4-FFF2-40B4-BE49-F238E27FC236}">
                <a16:creationId xmlns:a16="http://schemas.microsoft.com/office/drawing/2014/main" id="{7BB974E4-0B7B-F5AA-C47F-64E59FEDC4FA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4310063" y="5773738"/>
            <a:ext cx="9969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54D6E85-B911-467C-A8E3-F28DEB418B46}" type="datetime'''''C''''''''''''''om''''''''''''p''''''an''y ''B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Company B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116" name="Master text box">
            <a:extLst>
              <a:ext uri="{FF2B5EF4-FFF2-40B4-BE49-F238E27FC236}">
                <a16:creationId xmlns:a16="http://schemas.microsoft.com/office/drawing/2014/main" id="{874C8F0A-1516-A41C-6814-6828663E1A73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5710238" y="5773738"/>
            <a:ext cx="9588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77CDAB8-2079-455F-9843-D5D3F00E8EBB}" type="datetime'''''''''''''''''''Y''''e''a''''''''rl''y s''u''''''''''''m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Yearly sum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4" name="Rechteck 137">
            <a:extLst>
              <a:ext uri="{FF2B5EF4-FFF2-40B4-BE49-F238E27FC236}">
                <a16:creationId xmlns:a16="http://schemas.microsoft.com/office/drawing/2014/main" id="{1CB4C388-C2B3-2D3F-4441-6B26FF20437F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6" name="tc_columnheader">
            <a:extLst>
              <a:ext uri="{FF2B5EF4-FFF2-40B4-BE49-F238E27FC236}">
                <a16:creationId xmlns:a16="http://schemas.microsoft.com/office/drawing/2014/main" id="{08979EB9-BDA9-F3F0-9C3F-88C6F9F5C531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7" name="tc_columnhead">
              <a:extLst>
                <a:ext uri="{FF2B5EF4-FFF2-40B4-BE49-F238E27FC236}">
                  <a16:creationId xmlns:a16="http://schemas.microsoft.com/office/drawing/2014/main" id="{F2E80B6B-BD08-F517-E05D-DCFA81972166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8" name="tc_columnheadline">
              <a:extLst>
                <a:ext uri="{FF2B5EF4-FFF2-40B4-BE49-F238E27FC236}">
                  <a16:creationId xmlns:a16="http://schemas.microsoft.com/office/drawing/2014/main" id="{AE6AC1F3-3201-B907-762E-6FDFF40586D2}"/>
                </a:ext>
              </a:extLst>
            </p:cNvPr>
            <p:cNvCxnSpPr>
              <a:cxnSpLocks/>
              <a:stCxn id="7" idx="4"/>
              <a:endCxn id="7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tc_columnheader">
            <a:extLst>
              <a:ext uri="{FF2B5EF4-FFF2-40B4-BE49-F238E27FC236}">
                <a16:creationId xmlns:a16="http://schemas.microsoft.com/office/drawing/2014/main" id="{0D3D6EA2-500E-89B5-85E2-4C0F098C0C36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1" name="tc_columnhead">
              <a:extLst>
                <a:ext uri="{FF2B5EF4-FFF2-40B4-BE49-F238E27FC236}">
                  <a16:creationId xmlns:a16="http://schemas.microsoft.com/office/drawing/2014/main" id="{13AD98D5-B133-B69D-8F74-209EA52F72AD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12" name="tc_columnheadline">
              <a:extLst>
                <a:ext uri="{FF2B5EF4-FFF2-40B4-BE49-F238E27FC236}">
                  <a16:creationId xmlns:a16="http://schemas.microsoft.com/office/drawing/2014/main" id="{8AC26668-8CE8-8CCD-39DB-0BFB70ECCBA8}"/>
                </a:ext>
              </a:extLst>
            </p:cNvPr>
            <p:cNvCxnSpPr>
              <a:cxnSpLocks/>
              <a:stCxn id="11" idx="4"/>
              <a:endCxn id="11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tangle 18">
            <a:extLst>
              <a:ext uri="{FF2B5EF4-FFF2-40B4-BE49-F238E27FC236}">
                <a16:creationId xmlns:a16="http://schemas.microsoft.com/office/drawing/2014/main" id="{A4A19741-A6A6-9442-6A5B-E25703F944D2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11681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b.TNe2U9eLoa1uG68Xy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zwYaBy8VjUECk1bkxvS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uS5ZRymoFr49WR27smkQ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ZH28.913syjwA_1BgNmA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skQ5cvq5XB3.JE6Q4Lw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N2ZgehbvnqMh5RP2rbF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zzYqDGSaLSWjlsDL357A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PxYUcz_UQOD4Yjnmx4e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sw_zP0IuzDdrBEM1h.hA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3t.INqa521hgV_Xd7QSg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l1X9lUOmQfe3TsCqpC3g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y4X2UUYGuxXlV2.NKofA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vIYaY4GRq4dwFPJ9iUNQ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VJnTbGexbWa2IxdDZeQg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TdnIr8pHqkVPWJzh8o.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FG_Xdgekq7jwWfD4yPFA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bxPxT3QYjhUR960r1pQQ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BJ9srY.xaViHSnOw9Vdw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yke6wX5qtsUU1AglejRg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oP8sBoJHC8BhyXrbD9UA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wvxeFI35PPrzxVEumiSQ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jANoORLQ6J7qc7h6wp.Q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I0oR8qEfk2X5VIOsgOmw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X2MvCEYLjxVs7CY3wspg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eDCUFB2a9SUCu6P8JCJ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viGK24LU4sodU5naYPq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ESR1B9fJTGH72Z_v4bh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2TapKVZHH2uwFCCQwRJw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1K00IjnxBo.1SM3mBsJg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42VvBm3w9n6jgP7JNdSg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sQXFGLgjlase3ldlYvJg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TSrikTPiYGvx_gS8rvkQ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yr3lsoogrom2V_OJHdUA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xlG1wqvfSruuwttVWsTQ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IFUTKdYs8nVoqZTKxRZg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_WBTXNfRCX9DhhKqyar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8qKHz46gjexVHHrrpcPQ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dTM3nDC00EPMxL6aA50Q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HX7jqni7cZFlVjfseVig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JMqd0z6RR6v3sk7_lzjg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WbcX8TY_bGXDMX.5Ds9w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Q3oOoyCiAR6EaPfJkuS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Q0zD53C.lgk1OgblEQ6w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sLwhwj4Iv.ObsMvEEwk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2_hrqjo4h3cI.dUcQxNQ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Mn6kTmOZzGoxT6EuytPQ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p1sqtq8dZ.8qFALqMKJw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sAJ1V0U80pKP_3BdII.g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.AdUQ_eOfbixlBbK4Tlw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6LWkhz9JsBxYdZvxz05A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tFF2_XAN91pYlG_sA4Qw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nD995wTsH6ob5U9vauCw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eYJKTEfu.z1vwVP2hek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